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833" r:id="rId1"/>
  </p:sldMasterIdLst>
  <p:notesMasterIdLst>
    <p:notesMasterId r:id="rId13"/>
  </p:notesMasterIdLst>
  <p:handoutMasterIdLst>
    <p:handoutMasterId r:id="rId14"/>
  </p:handoutMasterIdLst>
  <p:sldIdLst>
    <p:sldId id="257" r:id="rId2"/>
    <p:sldId id="259" r:id="rId3"/>
    <p:sldId id="278" r:id="rId4"/>
    <p:sldId id="279" r:id="rId5"/>
    <p:sldId id="280" r:id="rId6"/>
    <p:sldId id="281" r:id="rId7"/>
    <p:sldId id="286" r:id="rId8"/>
    <p:sldId id="282" r:id="rId9"/>
    <p:sldId id="283" r:id="rId10"/>
    <p:sldId id="284" r:id="rId11"/>
    <p:sldId id="285" r:id="rId12"/>
  </p:sldIdLst>
  <p:sldSz cx="12192000" cy="6858000"/>
  <p:notesSz cx="6797675" cy="9872663"/>
  <p:custDataLst>
    <p:tags r:id="rId15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INCHAUX Xavier" initials="RTE" lastIdx="8" clrIdx="0"/>
  <p:cmAuthor id="1" name="Tore Granli" initials="TG" lastIdx="4" clrIdx="1"/>
  <p:cmAuthor id="2" name="Dammer, Arne" initials="DA" lastIdx="5" clrIdx="2"/>
  <p:cmAuthor id="3" name="OTE-OM" initials="OTE-OM" lastIdx="3" clrIdx="3"/>
  <p:cmAuthor id="4" name="DUFOURG Marie" initials="RTE" lastIdx="10" clrIdx="4"/>
  <p:cmAuthor id="5" name="ELIA" initials="ELIA" lastIdx="13" clrIdx="5"/>
  <p:cmAuthor id="6" name="EPEXSPOT" initials="EPEX" lastIdx="6" clrIdx="6"/>
  <p:cmAuthor id="7" name="EPEX" initials="EPEX" lastIdx="30" clrIdx="7"/>
  <p:cmAuthor id="8" name="Vladimír Satek" initials="VS" lastIdx="42" clrIdx="8"/>
  <p:cmAuthor id="9" name="ycuellar" initials="YC" lastIdx="11" clrIdx="9"/>
  <p:cmAuthor id="10" name="Lucie Ryšavá" initials="LR" lastIdx="41" clrIdx="10"/>
  <p:cmAuthor id="11" name="Karri Mäkelä" initials="KM" lastIdx="38" clrIdx="11"/>
  <p:cmAuthor id="12" name="Helene" initials="H" lastIdx="10" clrIdx="12"/>
  <p:cmAuthor id="13" name="Nord Pool Spot 1" initials="NPS 1" lastIdx="5" clrIdx="13"/>
  <p:cmAuthor id="14" name="Tjitske Kramer" initials="TK" lastIdx="4" clrIdx="14"/>
  <p:cmAuthor id="15" name="NPS" initials="KM" lastIdx="1" clrIdx="15"/>
  <p:cmAuthor id="16" name="EPEX SPOT" initials="EPEX" lastIdx="7" clrIdx="16"/>
  <p:cmAuthor id="17" name="Jose Javier Gonzalez" initials="JJG" lastIdx="1" clrIdx="17"/>
  <p:cmAuthor id="18" name="Yolanda Cuellar" initials="OMIE" lastIdx="6" clrIdx="18"/>
  <p:cmAuthor id="19" name="Rysava , Lucie" initials="LR" lastIdx="49" clrIdx="19"/>
  <p:cmAuthor id="20" name="Klara Valkova" initials="KV" lastIdx="5" clrIdx="20"/>
  <p:cmAuthor id="21" name="Lucie Rysava (PXs PMO)" initials="LR" lastIdx="5" clrIdx="21"/>
  <p:cmAuthor id="22" name="NPS1" initials="NPS1" lastIdx="3" clrIdx="22"/>
  <p:cmAuthor id="23" name="Lucie Ryšavá (PXs PMO)" initials="LR" lastIdx="7" clrIdx="23"/>
  <p:cmAuthor id="24" name="PXs" initials="PXs" lastIdx="13" clrIdx="24"/>
  <p:cmAuthor id="25" name="Dornick, Susanne" initials="DS" lastIdx="1" clrIdx="25"/>
  <p:cmAuthor id="26" name="Georgi Mumdjiev" initials="GM" lastIdx="1" clrIdx="26">
    <p:extLst>
      <p:ext uri="{19B8F6BF-5375-455C-9EA6-DF929625EA0E}">
        <p15:presenceInfo xmlns:p15="http://schemas.microsoft.com/office/powerpoint/2012/main" userId="S-1-5-21-507921405-688789844-682003330-340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3333"/>
    <a:srgbClr val="4F81BD"/>
    <a:srgbClr val="7F7F7F"/>
    <a:srgbClr val="C00000"/>
    <a:srgbClr val="83A644"/>
    <a:srgbClr val="FC7B10"/>
    <a:srgbClr val="E9EDF4"/>
    <a:srgbClr val="D0D8E8"/>
    <a:srgbClr val="95B3D7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36" autoAdjust="0"/>
    <p:restoredTop sz="98910" autoAdjust="0"/>
  </p:normalViewPr>
  <p:slideViewPr>
    <p:cSldViewPr snapToGrid="0">
      <p:cViewPr varScale="1">
        <p:scale>
          <a:sx n="157" d="100"/>
          <a:sy n="157" d="100"/>
        </p:scale>
        <p:origin x="476" y="9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-3918" y="-78"/>
      </p:cViewPr>
      <p:guideLst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1275" y="0"/>
            <a:ext cx="2944813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45C611AE-D204-4A87-AAC2-AFEEC8975774}" type="datetimeFigureOut">
              <a:rPr lang="en-GB" altLang="en-US"/>
              <a:pPr>
                <a:defRPr/>
              </a:pPr>
              <a:t>22/09/2022</a:t>
            </a:fld>
            <a:endParaRPr lang="en-GB" alt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44813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1275" y="9377363"/>
            <a:ext cx="2944813" cy="49371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18697528-1335-477D-82AB-8B236B3C975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054281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1275" y="0"/>
            <a:ext cx="2944813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B19206F8-B867-403A-B2E4-817EB2EBA37D}" type="datetimeFigureOut">
              <a:rPr lang="en-US" altLang="en-US"/>
              <a:pPr>
                <a:defRPr/>
              </a:pPr>
              <a:t>9/22/2022</a:t>
            </a:fld>
            <a:endParaRPr lang="en-US" alt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3025" y="774700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689475"/>
            <a:ext cx="5438775" cy="44434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 noProof="0" dirty="0" err="1"/>
              <a:t>Cliquez</a:t>
            </a:r>
            <a:r>
              <a:rPr lang="en-US" altLang="en-US" noProof="0" dirty="0"/>
              <a:t> pour modifier les styles du </a:t>
            </a:r>
            <a:r>
              <a:rPr lang="en-US" altLang="en-US" noProof="0" dirty="0" err="1"/>
              <a:t>texte</a:t>
            </a:r>
            <a:r>
              <a:rPr lang="en-US" altLang="en-US" noProof="0" dirty="0"/>
              <a:t> du masque</a:t>
            </a:r>
          </a:p>
          <a:p>
            <a:pPr lvl="1"/>
            <a:r>
              <a:rPr lang="en-US" altLang="en-US" noProof="0" dirty="0" err="1"/>
              <a:t>Deuxième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niveau</a:t>
            </a:r>
            <a:endParaRPr lang="en-US" altLang="en-US" noProof="0" dirty="0"/>
          </a:p>
          <a:p>
            <a:pPr lvl="2"/>
            <a:r>
              <a:rPr lang="en-US" altLang="en-US" noProof="0" dirty="0" err="1"/>
              <a:t>Troisième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niveau</a:t>
            </a:r>
            <a:endParaRPr lang="en-US" altLang="en-US" noProof="0" dirty="0"/>
          </a:p>
          <a:p>
            <a:pPr lvl="3"/>
            <a:r>
              <a:rPr lang="en-US" altLang="en-US" noProof="0" dirty="0" err="1"/>
              <a:t>Quatrième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niveau</a:t>
            </a:r>
            <a:endParaRPr lang="en-US" altLang="en-US" noProof="0" dirty="0"/>
          </a:p>
          <a:p>
            <a:pPr lvl="4"/>
            <a:r>
              <a:rPr lang="en-US" altLang="en-US" noProof="0" dirty="0" err="1"/>
              <a:t>Cinquième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niveau</a:t>
            </a:r>
            <a:endParaRPr lang="en-US" altLang="en-US" noProof="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44813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1275" y="9377363"/>
            <a:ext cx="2944813" cy="49371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60325E30-007A-4EC7-826C-F28AC8A9958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862125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6.jp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6.jp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7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6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6.jp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6.jp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6.jp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6.jp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6.jp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691795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DB6B3B6F-BCDE-451B-97B8-FA841B8A6C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80060"/>
            <a:ext cx="12192000" cy="5428822"/>
          </a:xfrm>
          <a:prstGeom prst="rect">
            <a:avLst/>
          </a:prstGeom>
        </p:spPr>
      </p:pic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8219C8B-C675-4FBB-AFDB-EBEB44BB5EF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584" y="6718695"/>
            <a:ext cx="1171041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97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4B31B-6919-4BA6-96AF-A39C0D518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631694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5B4B31B-6919-4BA6-96AF-A39C0D518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22DC125-2985-4880-AAE3-33ADD7DB49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EEEB8B2-D3C6-45FC-8473-EB5982C58AF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04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324DAB-C205-46F3-B69F-CB6D079A1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356149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324DAB-C205-46F3-B69F-CB6D079A1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8B86CF7-5647-4B57-8CE7-CDEFF3D095B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18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1F4DC1-C7EB-4B4C-B4DF-9B8C5BBD4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76482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1F4DC1-C7EB-4B4C-B4DF-9B8C5BBD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671827-40A6-426F-8098-E05D94E623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80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7,90</a:t>
            </a: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18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3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7,00</a:t>
            </a:r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.15</a:t>
            </a:r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9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7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1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,15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6" y="843857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ontent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guides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7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5,37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Please restrict your content to this area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C533BF75-07CC-4AF7-8DB4-F66692271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37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048053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Grafik 6">
            <a:extLst>
              <a:ext uri="{FF2B5EF4-FFF2-40B4-BE49-F238E27FC236}">
                <a16:creationId xmlns:a16="http://schemas.microsoft.com/office/drawing/2014/main" id="{67C3A727-1FD6-4A1F-BB08-9E3A48C6E54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12" y="916293"/>
            <a:ext cx="6190488" cy="5812536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8219C8B-C675-4FBB-AFDB-EBEB44BB5EF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584" y="6718695"/>
            <a:ext cx="1171041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936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ED4078-AFF6-4ADE-AEF0-C4E78BB1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963193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ED4078-AFF6-4ADE-AEF0-C4E78BB13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1894713" y="1235829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de-DE" dirty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894713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E4756C9-9BF1-470E-BE37-94B694D57CA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063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720091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7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0546E2B-81DA-42D7-A06D-FB237B319A3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941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04B6E4-45F4-42A3-967A-4C6C6E53B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722740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04B6E4-45F4-42A3-967A-4C6C6E53B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573C5EA-CBDA-42FD-ADB9-72BFC6618B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7ED35DD-3BF8-4D83-AC28-EB5A176FC6E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45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441A798-8013-4D91-A6DF-230BE4E0D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81064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441A798-8013-4D91-A6DF-230BE4E0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00679D5-444D-4F71-B4BD-FE0AB4886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5C26B2D-01CE-429E-B8CB-E87697A2F3C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704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F4E5FF-ECF8-4FB3-9ACC-FD539873F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16434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F4E5FF-ECF8-4FB3-9ACC-FD539873F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D0D53-D165-45DD-9847-0EE2AD2F07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93155" y="6349128"/>
            <a:ext cx="449389" cy="246221"/>
          </a:xfrm>
        </p:spPr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6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9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119DA0F4-2BDF-4A3E-9E05-B7101FB431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429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822547-77C4-4C4A-B1FA-FB21DC8CE2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035412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5822547-77C4-4C4A-B1FA-FB21DC8CE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7C57029-30C6-4D93-84F9-13BB1346884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0A21437A-0A0B-4036-BFA3-026E8D6BC7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35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1FA5FA-E81B-41B0-8361-A4B0F1640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63537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1FA5FA-E81B-41B0-8361-A4B0F1640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D10C927-4D12-4B1C-B6EC-2B1D574E6B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903014" y="2746069"/>
            <a:ext cx="2298975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428411" y="1992225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428411" y="4591050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846F75B8-482E-4B84-A673-A4A29672BA0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82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12BBF4-7215-41C3-A5E6-9F1EC9AC1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6747148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12BBF4-7215-41C3-A5E6-9F1EC9AC1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296E2BF-69A5-471F-A831-D06CB4E685A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1758" y="6373192"/>
            <a:ext cx="48161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7" y="843857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  <a:endParaRPr lang="en-US" noProof="0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0F6053F-18B8-4953-ACCD-2BE8DF16C290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568" y="-3052"/>
            <a:ext cx="8028432" cy="646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363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4" r:id="rId11"/>
    <p:sldLayoutId id="2147483845" r:id="rId1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3" userDrawn="1">
          <p15:clr>
            <a:srgbClr val="F26B43"/>
          </p15:clr>
        </p15:guide>
        <p15:guide id="4" pos="7227" userDrawn="1">
          <p15:clr>
            <a:srgbClr val="F26B43"/>
          </p15:clr>
        </p15:guide>
        <p15:guide id="5" pos="11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service.projectplace.com/pp/pp.cgi/r1007014297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mailto:helpdesk@jao.eu" TargetMode="Externa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38B7CF-F157-4406-9B99-69536B1B1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coupling training session </a:t>
            </a:r>
            <a:br>
              <a:rPr lang="en-GB" dirty="0"/>
            </a:br>
            <a:r>
              <a:rPr lang="en-GB" dirty="0"/>
              <a:t>with Market Participant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B422209-0C98-4342-BCE5-AE9D753733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DAC Information packag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42678B6-BAC4-4739-A527-A4A13417EA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13/10/202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8F93F3E-DC1F-4A99-AAE6-C8E85FF770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Operations Committee (OPSCOM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6333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2A2537-BBCB-46BC-925D-7D7099CC3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ckup slide 1: Fallback solution per Interconnector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175B47-B04C-49DD-8234-DF8852777D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10</a:t>
            </a:fld>
            <a:endParaRPr lang="en-US" altLang="en-US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9C86966-1DB3-4E1F-B029-0D935254E9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1439999"/>
            <a:ext cx="5376001" cy="4896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b="1" dirty="0"/>
              <a:t>Options</a:t>
            </a:r>
          </a:p>
          <a:p>
            <a:pPr marL="0" indent="0">
              <a:buNone/>
            </a:pPr>
            <a:r>
              <a:rPr lang="en-GB" sz="1600" dirty="0"/>
              <a:t>Depending on the Interconnector/border, the following Fallback solutions may be used: </a:t>
            </a:r>
          </a:p>
          <a:p>
            <a:r>
              <a:rPr lang="en-GB" sz="1600" dirty="0"/>
              <a:t>Capacity goes to Intraday;</a:t>
            </a:r>
          </a:p>
          <a:p>
            <a:r>
              <a:rPr lang="en-GB" sz="1600" dirty="0"/>
              <a:t>Day Ahead Explicit auction;</a:t>
            </a:r>
          </a:p>
          <a:p>
            <a:r>
              <a:rPr lang="en-GB" sz="1600" dirty="0"/>
              <a:t>Shadow auction via JAO;</a:t>
            </a:r>
          </a:p>
          <a:p>
            <a:r>
              <a:rPr lang="en-GB" sz="1600" dirty="0"/>
              <a:t>Capacity goes back to the interconnector owner.</a:t>
            </a:r>
          </a:p>
          <a:p>
            <a:r>
              <a:rPr lang="en-GB" sz="1600" dirty="0"/>
              <a:t>Regional Coupling (implicit allocation)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085E4DBD-67E3-14DD-00BD-DC4512C6C9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8726345"/>
              </p:ext>
            </p:extLst>
          </p:nvPr>
        </p:nvGraphicFramePr>
        <p:xfrm>
          <a:off x="7189365" y="879001"/>
          <a:ext cx="4390681" cy="5501640"/>
        </p:xfrm>
        <a:graphic>
          <a:graphicData uri="http://schemas.openxmlformats.org/drawingml/2006/table">
            <a:tbl>
              <a:tblPr firstRow="1" firstCol="1" bandRow="1"/>
              <a:tblGrid>
                <a:gridCol w="1812122">
                  <a:extLst>
                    <a:ext uri="{9D8B030D-6E8A-4147-A177-3AD203B41FA5}">
                      <a16:colId xmlns:a16="http://schemas.microsoft.com/office/drawing/2014/main" val="2033034122"/>
                    </a:ext>
                  </a:extLst>
                </a:gridCol>
                <a:gridCol w="2578559">
                  <a:extLst>
                    <a:ext uri="{9D8B030D-6E8A-4147-A177-3AD203B41FA5}">
                      <a16:colId xmlns:a16="http://schemas.microsoft.com/office/drawing/2014/main" val="4242469057"/>
                    </a:ext>
                  </a:extLst>
                </a:gridCol>
              </a:tblGrid>
              <a:tr h="131034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terconnector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9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allback solution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069803"/>
                  </a:ext>
                </a:extLst>
              </a:tr>
              <a:tr h="113730">
                <a:tc gridSpan="2"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EM interconnectors: 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3140100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 – ROI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-ROI always remains coupled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9408373"/>
                  </a:ext>
                </a:extLst>
              </a:tr>
              <a:tr h="113730">
                <a:tc gridSpan="2"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ordic-Baltic interconnectors: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881683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ordic internal borders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lways remain coupled through Nordic internal coupling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7379907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Baltic internal borders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lways remain coupled through Nordic internal coupling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9894280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O2-NL (</a:t>
                      </a:r>
                      <a:r>
                        <a:rPr lang="en-US" sz="800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orNed</a:t>
                      </a: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)*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1907267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O2-DE (</a:t>
                      </a:r>
                      <a:r>
                        <a:rPr lang="en-US" sz="800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ordLink</a:t>
                      </a: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)*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4506784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K1-DE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1939450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K1-NL (COBRA cable)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0963326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K2-DE </a:t>
                      </a: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KonteK)</a:t>
                      </a: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9603420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E4-DE (Baltic Cable)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apacity goes back to the interconnector owner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3327940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L-SE4 </a:t>
                      </a:r>
                      <a:r>
                        <a:rPr lang="es-ES" sz="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SwePol Link)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apacity goes back to the interconnector owner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077230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L-LT (LitPol Link)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apacity goes back to the interconnector owner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4439219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S" sz="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4-LT (NordBalt)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lways remains coupled through Nordic internal coupling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0082621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S" sz="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E-FI (EstLink)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lways remains coupled through Nordic internal coupling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881377"/>
                  </a:ext>
                </a:extLst>
              </a:tr>
              <a:tr h="113730">
                <a:tc gridSpan="2"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ORE internal borders: 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5384295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T – DE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4074771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L – BE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595265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BE – FR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900674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R – DE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265737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L – DE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1412344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BE – DE (ALEGrO) (BE-ALBE, DE-ALDE)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2816969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Z-AT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0735803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Z-DE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5070310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Z-DE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1908943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Z-PL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0524072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K-PL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5172696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U-AT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7974916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Z-SK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070620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K-HU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0792020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U-RO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650112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O-BG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9136544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E-PL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6354795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T-SI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8457386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R-SI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8242240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U-HR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7655560"/>
                  </a:ext>
                </a:extLst>
              </a:tr>
              <a:tr h="113730">
                <a:tc gridSpan="2"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WE interconnectors: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2337653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R-ES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29069"/>
                  </a:ext>
                </a:extLst>
              </a:tr>
              <a:tr h="113730">
                <a:tc gridSpan="2"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BWT internal borders: 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5573812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T – FR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866285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T – AT 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6830649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T-SI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9811121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R – IT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500080"/>
                  </a:ext>
                </a:extLst>
              </a:tr>
              <a:tr h="11373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BG – GR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adow Auctions via JAO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696" marR="3269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640974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AB5EA464-0E7B-5868-08AE-546AB34429BA}"/>
              </a:ext>
            </a:extLst>
          </p:cNvPr>
          <p:cNvSpPr txBox="1"/>
          <p:nvPr/>
        </p:nvSpPr>
        <p:spPr>
          <a:xfrm>
            <a:off x="6881942" y="6415785"/>
            <a:ext cx="531005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" i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*In the Fallback Allocation Mechanism, the NO2 bidding zone will be used (i.e. not the NO2A virtual bidding zone)</a:t>
            </a:r>
            <a:endParaRPr lang="en-US" sz="800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73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2A2537-BBCB-46BC-925D-7D7099CC3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ckup slide 2: Fallback solution per Bidding Zone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175B47-B04C-49DD-8234-DF8852777D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11</a:t>
            </a:fld>
            <a:endParaRPr lang="en-US" altLang="en-US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9C86966-1DB3-4E1F-B029-0D935254E9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1439999"/>
            <a:ext cx="5283236" cy="4896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b="1" dirty="0"/>
              <a:t>Options</a:t>
            </a:r>
          </a:p>
          <a:p>
            <a:pPr marL="0" indent="0">
              <a:buNone/>
            </a:pPr>
            <a:r>
              <a:rPr lang="en-GB" sz="1600" dirty="0"/>
              <a:t>Depending on the local/regional procedures, the following Fallback solutions may be used: </a:t>
            </a:r>
          </a:p>
          <a:p>
            <a:r>
              <a:rPr lang="en-GB" sz="1600" dirty="0"/>
              <a:t>Local auctions run by the relevant NEMOs</a:t>
            </a:r>
          </a:p>
          <a:p>
            <a:r>
              <a:rPr lang="en-GB" sz="1600" dirty="0"/>
              <a:t>Regional Coupling (implicit allocation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5804760-D03E-48AA-BE9C-ECA381E105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0408710"/>
              </p:ext>
            </p:extLst>
          </p:nvPr>
        </p:nvGraphicFramePr>
        <p:xfrm>
          <a:off x="598502" y="3012131"/>
          <a:ext cx="4812176" cy="1371600"/>
        </p:xfrm>
        <a:graphic>
          <a:graphicData uri="http://schemas.openxmlformats.org/drawingml/2006/table">
            <a:tbl>
              <a:tblPr firstRow="1" firstCol="1" bandRow="1"/>
              <a:tblGrid>
                <a:gridCol w="2446702">
                  <a:extLst>
                    <a:ext uri="{9D8B030D-6E8A-4147-A177-3AD203B41FA5}">
                      <a16:colId xmlns:a16="http://schemas.microsoft.com/office/drawing/2014/main" val="433839341"/>
                    </a:ext>
                  </a:extLst>
                </a:gridCol>
                <a:gridCol w="2365474">
                  <a:extLst>
                    <a:ext uri="{9D8B030D-6E8A-4147-A177-3AD203B41FA5}">
                      <a16:colId xmlns:a16="http://schemas.microsoft.com/office/drawing/2014/main" val="3060274584"/>
                    </a:ext>
                  </a:extLst>
                </a:gridCol>
              </a:tblGrid>
              <a:tr h="136817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0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idding Zone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867" marR="36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allback solution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867" marR="36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375061"/>
                  </a:ext>
                </a:extLst>
              </a:tr>
              <a:tr h="105267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0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re Bidding Zones (FR, DE/LU, NL, BE, AT, CZ, HU, RO, and SK)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867" marR="3686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ocal auction run by the relevant NEMOs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867" marR="3686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5386344"/>
                  </a:ext>
                </a:extLst>
              </a:tr>
              <a:tr h="105267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0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M (ROI and NI)</a:t>
                      </a:r>
                    </a:p>
                  </a:txBody>
                  <a:tcPr marL="36867" marR="3686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ocal auction run by the relevant NEMO</a:t>
                      </a: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867" marR="3686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1957345"/>
                  </a:ext>
                </a:extLst>
              </a:tr>
              <a:tr h="276445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0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rdic Bidding Zones (DK, NO, SE and FI)</a:t>
                      </a:r>
                    </a:p>
                  </a:txBody>
                  <a:tcPr marL="36867" marR="3686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rdic-Baltic regional coupling between the relevant NEMOs</a:t>
                      </a:r>
                    </a:p>
                  </a:txBody>
                  <a:tcPr marL="36867" marR="3686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7678665"/>
                  </a:ext>
                </a:extLst>
              </a:tr>
              <a:tr h="105267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GB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867" marR="3686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867" marR="3686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3961442"/>
                  </a:ext>
                </a:extLst>
              </a:tr>
              <a:tr h="105267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867" marR="3686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867" marR="3686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259016"/>
                  </a:ext>
                </a:extLst>
              </a:tr>
              <a:tr h="105267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867" marR="3686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GB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867" marR="3686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49168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3253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466E1A-8FD3-4DBD-89D1-1D6E9482D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2D3597D-A3F6-4081-B178-083641E812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Font typeface="Calibri" pitchFamily="34" charset="0"/>
              <a:buAutoNum type="arabicParenR"/>
              <a:defRPr/>
            </a:pPr>
            <a:r>
              <a:rPr lang="en-GB" altLang="en-US" sz="2000" dirty="0">
                <a:latin typeface="Arial" charset="0"/>
                <a:cs typeface="Arial" charset="0"/>
              </a:rPr>
              <a:t>Background &amp; Goal</a:t>
            </a:r>
          </a:p>
          <a:p>
            <a:pPr>
              <a:buFont typeface="Calibri" pitchFamily="34" charset="0"/>
              <a:buAutoNum type="arabicParenR"/>
              <a:defRPr/>
            </a:pPr>
            <a:r>
              <a:rPr lang="en-GB" altLang="en-US" sz="2000" dirty="0">
                <a:latin typeface="Arial" charset="0"/>
                <a:cs typeface="Arial" charset="0"/>
              </a:rPr>
              <a:t>Date and timeslot</a:t>
            </a:r>
          </a:p>
          <a:p>
            <a:pPr>
              <a:buFont typeface="Calibri" pitchFamily="34" charset="0"/>
              <a:buAutoNum type="arabicParenR"/>
              <a:defRPr/>
            </a:pPr>
            <a:r>
              <a:rPr lang="en-GB" altLang="en-US" sz="2000" dirty="0">
                <a:latin typeface="Arial" charset="0"/>
                <a:cs typeface="Arial" charset="0"/>
              </a:rPr>
              <a:t>Scenario: Full decoupling of SDAC</a:t>
            </a:r>
          </a:p>
          <a:p>
            <a:pPr>
              <a:buFont typeface="Calibri" pitchFamily="34" charset="0"/>
              <a:buAutoNum type="arabicParenR"/>
              <a:defRPr/>
            </a:pPr>
            <a:r>
              <a:rPr lang="en-GB" altLang="en-US" sz="2000" dirty="0">
                <a:latin typeface="Arial" charset="0"/>
                <a:cs typeface="Arial" charset="0"/>
              </a:rPr>
              <a:t>Operational process and timings</a:t>
            </a:r>
          </a:p>
          <a:p>
            <a:pPr>
              <a:buFont typeface="Calibri" pitchFamily="34" charset="0"/>
              <a:buAutoNum type="arabicParenR"/>
              <a:defRPr/>
            </a:pPr>
            <a:r>
              <a:rPr lang="en-GB" altLang="en-US" sz="2000" dirty="0">
                <a:latin typeface="Arial" charset="0"/>
                <a:cs typeface="Arial" charset="0"/>
              </a:rPr>
              <a:t>Coordination </a:t>
            </a:r>
          </a:p>
          <a:p>
            <a:pPr>
              <a:buFont typeface="Calibri" pitchFamily="34" charset="0"/>
              <a:buAutoNum type="arabicParenR"/>
              <a:defRPr/>
            </a:pPr>
            <a:r>
              <a:rPr lang="en-GB" altLang="en-US" sz="2000" dirty="0">
                <a:latin typeface="Arial" charset="0"/>
                <a:cs typeface="Arial" charset="0"/>
              </a:rPr>
              <a:t>Evaluation and reporting</a:t>
            </a:r>
          </a:p>
          <a:p>
            <a:pPr marL="0" indent="0">
              <a:buNone/>
              <a:defRPr/>
            </a:pPr>
            <a:endParaRPr lang="en-GB" altLang="en-US" sz="2000" dirty="0">
              <a:solidFill>
                <a:srgbClr val="00B050"/>
              </a:solidFill>
              <a:latin typeface="Arial" charset="0"/>
              <a:cs typeface="Arial" charset="0"/>
            </a:endParaRPr>
          </a:p>
          <a:p>
            <a:pPr marL="0" indent="0">
              <a:buNone/>
              <a:defRPr/>
            </a:pPr>
            <a:r>
              <a:rPr lang="en-GB" altLang="en-US" sz="2000" dirty="0">
                <a:latin typeface="Arial" charset="0"/>
                <a:cs typeface="Arial" charset="0"/>
              </a:rPr>
              <a:t>Backup: Fallback Solutions per Interconnector and Bidding Zone</a:t>
            </a:r>
            <a:endParaRPr lang="en-GB" altLang="en-US" sz="2000" dirty="0">
              <a:latin typeface="Arial" charset="0"/>
              <a:cs typeface="Arial" charset="0"/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CD7A96-14F7-4A66-B3F5-A0B1CD7D4A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3136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2A2537-BBCB-46BC-925D-7D7099CC3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) </a:t>
            </a:r>
            <a:r>
              <a:rPr lang="en-GB" altLang="en-US" sz="1800" dirty="0">
                <a:latin typeface="Arial" charset="0"/>
                <a:cs typeface="Arial" charset="0"/>
              </a:rPr>
              <a:t>Background &amp; Goal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175B47-B04C-49DD-8234-DF8852777D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3</a:t>
            </a:fld>
            <a:endParaRPr lang="en-US" altLang="en-US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9C86966-1DB3-4E1F-B029-0D935254E9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1439999"/>
            <a:ext cx="10728000" cy="4896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SDAC Operations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ince the go-live of Multi Regional Coupling (MRC, jointly with 4M MC forming SDAC) in 2014, more than 3,100 successful market coupling sessions have been conducted. 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 the last 4 years, four major incidents have happened that led to a partial decoupling of the SDAC Market. 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 part of the SDAC evaluation of these incidents, recommendations have been made to perform training sessions involving all operational parties (Transmission System Operators [TSOs], Nominated Electricity Market Operators [NEMOs], Central Clearing Parties, Shadow Auction entities, etc.) including Market Participants. </a:t>
            </a:r>
          </a:p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In addition, EFET &amp; EURELECTRIC on behalf of the Market Participants have requested for realistic decoupling training sessions.</a:t>
            </a:r>
          </a:p>
          <a:p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Goal</a:t>
            </a:r>
          </a:p>
          <a:p>
            <a:pPr marL="0" indent="0" algn="just">
              <a:buNone/>
            </a:pPr>
            <a:r>
              <a:rPr lang="en-US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is training session is organized to give all parties involved the opportunity to validate that they are properly prepared to handle such a day-ahead market decoupling incident in real operations and real-life conditions.</a:t>
            </a:r>
            <a:endParaRPr lang="de-DE" sz="1600" dirty="0">
              <a:solidFill>
                <a:srgbClr val="00000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32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2A2537-BBCB-46BC-925D-7D7099CC3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) </a:t>
            </a:r>
            <a:r>
              <a:rPr lang="en-GB" altLang="en-US" sz="1800" dirty="0">
                <a:latin typeface="Arial" charset="0"/>
                <a:cs typeface="Arial" charset="0"/>
              </a:rPr>
              <a:t>Date and timeslot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175B47-B04C-49DD-8234-DF8852777D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4</a:t>
            </a:fld>
            <a:endParaRPr lang="en-US" altLang="en-US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9C86966-1DB3-4E1F-B029-0D935254E9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1439999"/>
            <a:ext cx="10728000" cy="4896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b="1" dirty="0"/>
              <a:t>Date</a:t>
            </a:r>
          </a:p>
          <a:p>
            <a:r>
              <a:rPr lang="en-GB" sz="1600" dirty="0"/>
              <a:t>13/10/2022</a:t>
            </a:r>
          </a:p>
          <a:p>
            <a:endParaRPr lang="en-GB" sz="1600" dirty="0"/>
          </a:p>
          <a:p>
            <a:pPr marL="0" indent="0">
              <a:buNone/>
            </a:pPr>
            <a:r>
              <a:rPr lang="en-GB" sz="1600" b="1" dirty="0"/>
              <a:t>Delivery day </a:t>
            </a:r>
          </a:p>
          <a:p>
            <a:r>
              <a:rPr lang="en-GB" sz="1600" dirty="0"/>
              <a:t>14/10/2022</a:t>
            </a:r>
          </a:p>
          <a:p>
            <a:pPr marL="0" indent="0">
              <a:buNone/>
            </a:pPr>
            <a:endParaRPr lang="en-GB" sz="1600" dirty="0"/>
          </a:p>
          <a:p>
            <a:pPr marL="0" indent="0">
              <a:buNone/>
            </a:pPr>
            <a:r>
              <a:rPr lang="en-GB" sz="1600" b="1" dirty="0"/>
              <a:t>Timeslot</a:t>
            </a:r>
          </a:p>
          <a:p>
            <a:r>
              <a:rPr lang="en-GB" sz="1600" dirty="0"/>
              <a:t>13:00-18:00 CEST (to have results available from the Fallback auctions)</a:t>
            </a:r>
          </a:p>
          <a:p>
            <a:pPr marL="0" indent="0">
              <a:buNone/>
            </a:pP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817084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2A2537-BBCB-46BC-925D-7D7099CC3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) </a:t>
            </a:r>
            <a:r>
              <a:rPr lang="en-GB" altLang="en-US" sz="1800" dirty="0">
                <a:latin typeface="Arial" charset="0"/>
                <a:cs typeface="Arial" charset="0"/>
              </a:rPr>
              <a:t>Scenario: Full decoupling of SDAC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175B47-B04C-49DD-8234-DF8852777D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5</a:t>
            </a:fld>
            <a:endParaRPr lang="en-US" altLang="en-US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9C86966-1DB3-4E1F-B029-0D935254E9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1439999"/>
            <a:ext cx="10728000" cy="489600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1400" b="1" dirty="0"/>
              <a:t>Full vs partial decoupling</a:t>
            </a:r>
          </a:p>
          <a:p>
            <a:r>
              <a:rPr lang="en-GB" sz="1400" dirty="0"/>
              <a:t>Because of all the operational mitigating measures in place, a </a:t>
            </a:r>
            <a:r>
              <a:rPr lang="en-GB" sz="1400" u="sng" dirty="0"/>
              <a:t>partial decoupling is more likely to occur than a full decoupling</a:t>
            </a:r>
            <a:r>
              <a:rPr lang="en-GB" sz="1400" dirty="0"/>
              <a:t>.</a:t>
            </a:r>
          </a:p>
          <a:p>
            <a:r>
              <a:rPr lang="en-GB" sz="1400" dirty="0"/>
              <a:t>However, in order to make the training session </a:t>
            </a:r>
            <a:r>
              <a:rPr lang="en-GB" sz="1400" u="sng" dirty="0"/>
              <a:t>interesting for all participating parties</a:t>
            </a:r>
            <a:r>
              <a:rPr lang="en-GB" sz="1400" dirty="0"/>
              <a:t>, it has been decided to train for a full decoupling scenario.</a:t>
            </a:r>
          </a:p>
          <a:p>
            <a:r>
              <a:rPr lang="en-GB" sz="1400" dirty="0"/>
              <a:t>After the SDAC full decoupling is declared, </a:t>
            </a:r>
            <a:r>
              <a:rPr lang="en-GB" sz="1400" u="sng" dirty="0"/>
              <a:t>fallback mechanisms will be activated</a:t>
            </a:r>
            <a:r>
              <a:rPr lang="en-GB" sz="1400" dirty="0"/>
              <a:t>, where applicable, such as: Shadow/Explicit Auctions, local auctions or regional coupled auctions run by NEMOs. 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r>
              <a:rPr lang="en-GB" sz="1400" b="1" dirty="0"/>
              <a:t>How it will be simulated </a:t>
            </a:r>
          </a:p>
          <a:p>
            <a:r>
              <a:rPr lang="en-GB" sz="1400" dirty="0"/>
              <a:t>There are various issues that can lead to a full decoupling of SDAC.</a:t>
            </a:r>
          </a:p>
          <a:p>
            <a:r>
              <a:rPr lang="en-US" sz="1400" dirty="0"/>
              <a:t>Given the very high electricity prices situation in Europe, the SDAC parties have prepared a scenario that reflects these market circumstances and involves a full decoupling. </a:t>
            </a:r>
            <a:endParaRPr lang="en-GB" sz="1400" dirty="0"/>
          </a:p>
          <a:p>
            <a:r>
              <a:rPr lang="en-GB" sz="1400" dirty="0"/>
              <a:t>Based on 8 years of DA Market Coupling operations, starting with NWE, subsequently MRC, and now SDAC, we have decided to simulate:</a:t>
            </a:r>
          </a:p>
          <a:p>
            <a:pPr lvl="1"/>
            <a:r>
              <a:rPr lang="en-GB" sz="1400" dirty="0"/>
              <a:t>A second auction caused by high prices, </a:t>
            </a:r>
            <a:r>
              <a:rPr lang="en-US" sz="1400" dirty="0"/>
              <a:t>after closure of the order book</a:t>
            </a:r>
            <a:endParaRPr lang="en-GB" sz="1400" dirty="0"/>
          </a:p>
          <a:p>
            <a:pPr lvl="1"/>
            <a:r>
              <a:rPr lang="en-GB" sz="1400" dirty="0"/>
              <a:t>That there are technical issues with the central calculation process, meaning that no market coupling results in the second auction will be available at SDAC level.</a:t>
            </a:r>
          </a:p>
          <a:p>
            <a:pPr lvl="1"/>
            <a:r>
              <a:rPr lang="en-GB" sz="1400" dirty="0"/>
              <a:t>After the second auction is executed, a full decoupling will be triggered</a:t>
            </a:r>
          </a:p>
          <a:p>
            <a:r>
              <a:rPr lang="en-GB" sz="1400" dirty="0"/>
              <a:t>The TSOs, NEMOs and JAO will </a:t>
            </a:r>
            <a:r>
              <a:rPr lang="en-GB" sz="1400" u="sng" dirty="0"/>
              <a:t>handle everything in line with the procedures</a:t>
            </a:r>
            <a:r>
              <a:rPr lang="en-GB" sz="1400" dirty="0"/>
              <a:t>.</a:t>
            </a:r>
          </a:p>
          <a:p>
            <a:r>
              <a:rPr lang="en-GB" sz="1400" dirty="0"/>
              <a:t>The </a:t>
            </a:r>
            <a:r>
              <a:rPr lang="en-GB" sz="1400" u="sng" dirty="0"/>
              <a:t>market participants are expected to respond/act</a:t>
            </a:r>
            <a:r>
              <a:rPr lang="en-GB" sz="1400" dirty="0"/>
              <a:t>, based on the operational messages from their respective NEMOs and JAO, </a:t>
            </a:r>
            <a:r>
              <a:rPr lang="en-GB" sz="1400" u="sng" dirty="0"/>
              <a:t>exactly like in real operations</a:t>
            </a:r>
            <a:r>
              <a:rPr lang="en-GB" sz="1400" dirty="0"/>
              <a:t>.</a:t>
            </a:r>
          </a:p>
          <a:p>
            <a:r>
              <a:rPr lang="en-GB" sz="1400" dirty="0"/>
              <a:t>The </a:t>
            </a:r>
            <a:r>
              <a:rPr lang="en-GB" sz="1400" u="sng" dirty="0"/>
              <a:t>complete process chain</a:t>
            </a:r>
            <a:r>
              <a:rPr lang="en-GB" sz="1400" dirty="0"/>
              <a:t> will be addressed (incl. nomination and matching). </a:t>
            </a:r>
          </a:p>
          <a:p>
            <a:pPr lvl="1"/>
            <a:r>
              <a:rPr lang="en-GB" sz="1100" dirty="0"/>
              <a:t>Except for Nordic market participants, which are not required to nominate towards </a:t>
            </a:r>
            <a:r>
              <a:rPr lang="en-GB" sz="1100" dirty="0" err="1"/>
              <a:t>eSett</a:t>
            </a:r>
            <a:r>
              <a:rPr lang="en-GB" sz="1100" dirty="0"/>
              <a:t> following the Nordic-Baltic regional coupling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651909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2A2537-BBCB-46BC-925D-7D7099CC3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4) </a:t>
            </a:r>
            <a:r>
              <a:rPr lang="en-GB" altLang="en-US" sz="1800" dirty="0">
                <a:latin typeface="Arial" charset="0"/>
                <a:cs typeface="Arial" charset="0"/>
              </a:rPr>
              <a:t>Operational process and timings 1/3</a:t>
            </a:r>
            <a:br>
              <a:rPr lang="en-GB" altLang="en-US" sz="1800" dirty="0">
                <a:latin typeface="Arial" charset="0"/>
                <a:cs typeface="Arial" charset="0"/>
              </a:rPr>
            </a:br>
            <a:r>
              <a:rPr lang="en-GB" altLang="en-US" sz="1800" b="0" i="1" dirty="0">
                <a:latin typeface="Arial" charset="0"/>
                <a:cs typeface="Arial" charset="0"/>
              </a:rPr>
              <a:t>as described in the operational procedures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175B47-B04C-49DD-8234-DF8852777D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6</a:t>
            </a:fld>
            <a:endParaRPr lang="en-US" altLang="en-US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9C86966-1DB3-4E1F-B029-0D935254E9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1439999"/>
            <a:ext cx="10728000" cy="489600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endParaRPr lang="en-GB" sz="1600" b="1" dirty="0"/>
          </a:p>
          <a:p>
            <a:pPr marL="0" indent="0">
              <a:buNone/>
            </a:pPr>
            <a:r>
              <a:rPr lang="en-GB" sz="1600" b="1" dirty="0"/>
              <a:t>Normal process and timings</a:t>
            </a:r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pPr marL="0" indent="0">
              <a:buNone/>
            </a:pPr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r>
              <a:rPr lang="en-GB" sz="1600" dirty="0"/>
              <a:t>To start with, the TSOs provide cross border interconnector capacities to the coupling system (PMB, meaning PCR Matcher Broker) via NEMOs systems and Market Participants send orders for buying and/or selling through the Local Trading System of their NEMO. </a:t>
            </a:r>
          </a:p>
          <a:p>
            <a:r>
              <a:rPr lang="en-GB" sz="1600" dirty="0"/>
              <a:t>At books of each NEMO are closed and submitted to the PMB, which subsequently starts the calculation with the EUPHEMI12:00 (production time), the local order A algorithm. The results of this calculation are subsequently shared and validated by each NEMO before the results can be published towards Market Participants with a preliminary status. After a last round of validations (mainly performed by the TSOs) the results are confirmed as firm and final.</a:t>
            </a:r>
          </a:p>
          <a:p>
            <a:r>
              <a:rPr lang="en-GB" sz="1600" dirty="0"/>
              <a:t>Once the results are firm, they are sent to the Shipping Agents who will nominate towards the TSOs.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ACC91ADF-89D3-4E90-91C5-0B0DCE926C70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221" y="2054577"/>
            <a:ext cx="3577978" cy="2049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79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2A2537-BBCB-46BC-925D-7D7099CC3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4) </a:t>
            </a:r>
            <a:r>
              <a:rPr lang="en-GB" altLang="en-US" sz="1800" dirty="0">
                <a:latin typeface="Arial" charset="0"/>
                <a:cs typeface="Arial" charset="0"/>
              </a:rPr>
              <a:t>Operational process and timings 2/3</a:t>
            </a:r>
            <a:br>
              <a:rPr lang="en-GB" altLang="en-US" sz="1800" dirty="0">
                <a:latin typeface="Arial" charset="0"/>
                <a:cs typeface="Arial" charset="0"/>
              </a:rPr>
            </a:b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175B47-B04C-49DD-8234-DF8852777D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7</a:t>
            </a:fld>
            <a:endParaRPr lang="en-US" alt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ECB52F-14CD-41AB-BDE4-1ECE2E43F1E5}"/>
              </a:ext>
            </a:extLst>
          </p:cNvPr>
          <p:cNvSpPr txBox="1"/>
          <p:nvPr/>
        </p:nvSpPr>
        <p:spPr>
          <a:xfrm>
            <a:off x="1436603" y="6480976"/>
            <a:ext cx="7149784" cy="307777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 indent="87313"/>
            <a:r>
              <a:rPr lang="en-GB" sz="1000" u="sng" dirty="0"/>
              <a:t>Not</a:t>
            </a:r>
            <a:r>
              <a:rPr lang="en-GB" sz="1000" i="1" u="sng" dirty="0"/>
              <a:t>e:</a:t>
            </a:r>
            <a:r>
              <a:rPr lang="en-GB" sz="1000" i="1" dirty="0"/>
              <a:t> 	Relevant decoupling steps and messages for Market Participants indicated in </a:t>
            </a:r>
            <a:r>
              <a:rPr lang="en-GB" sz="1000" i="1" dirty="0">
                <a:highlight>
                  <a:srgbClr val="FFFF00"/>
                </a:highlight>
              </a:rPr>
              <a:t>yellow</a:t>
            </a:r>
            <a:r>
              <a:rPr lang="en-GB" sz="1000" i="1" dirty="0"/>
              <a:t>. </a:t>
            </a:r>
          </a:p>
          <a:p>
            <a:r>
              <a:rPr lang="en-GB" sz="1000" i="1" dirty="0"/>
              <a:t>	Additional regional messages that might apply are not included, because these depend on the regions.</a:t>
            </a: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5AFDFF31-5C99-4404-9954-5B4513880E02}"/>
              </a:ext>
            </a:extLst>
          </p:cNvPr>
          <p:cNvSpPr txBox="1"/>
          <p:nvPr/>
        </p:nvSpPr>
        <p:spPr>
          <a:xfrm>
            <a:off x="2031772" y="2420807"/>
            <a:ext cx="476591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8310EB91-194C-496B-B5A9-62563B89EDFD}"/>
              </a:ext>
            </a:extLst>
          </p:cNvPr>
          <p:cNvSpPr txBox="1">
            <a:spLocks/>
          </p:cNvSpPr>
          <p:nvPr/>
        </p:nvSpPr>
        <p:spPr>
          <a:xfrm>
            <a:off x="2031773" y="977071"/>
            <a:ext cx="9948470" cy="58325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lvl="0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:00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3:00	Start of the Market Coupling Session</a:t>
            </a:r>
          </a:p>
          <a:p>
            <a:pPr lvl="0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:15	13:15	Latest Time start an IC for issues in the Configuration Synchronization step</a:t>
            </a:r>
          </a:p>
          <a:p>
            <a:pPr lvl="0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:45	13:20	Deadline to skip the Configuration Synchronization step</a:t>
            </a:r>
          </a:p>
          <a:p>
            <a:pPr lvl="0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:30	13:30	Target Time for submitting the Network Data in the PMB</a:t>
            </a:r>
          </a:p>
          <a:p>
            <a:pPr lvl="0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:00	13:35	Latest time to start an IC for missing Network Data (TSOs can join the call)</a:t>
            </a:r>
          </a:p>
          <a:p>
            <a:pPr lvl="0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:15	13:40	Risk of Partial Decoupling for one or more interconnectors (at regional level)</a:t>
            </a:r>
          </a:p>
          <a:p>
            <a:pPr lvl="0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:30	13:45	Deadline to declare the Partial Decoupling for an interconnector 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t regional level)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12:00		14:00		NEMO Order book Gate Closure Time</a:t>
            </a:r>
          </a:p>
          <a:p>
            <a:pPr lvl="0" algn="just">
              <a:defRPr/>
            </a:pPr>
            <a:r>
              <a:rPr kumimoji="0" lang="en-US" sz="10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12:10	14:10	PMB GCT // R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eception of all Order Data files in PMBs 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rPr>
              <a:t>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Start of Calculation</a:t>
            </a:r>
          </a:p>
          <a:p>
            <a:pPr lvl="0" algn="just">
              <a:defRPr/>
            </a:pPr>
            <a:r>
              <a:rPr kumimoji="0" lang="en-US" sz="100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12:25	14:25	Deadline to send the message</a:t>
            </a:r>
            <a:r>
              <a:rPr kumimoji="0" lang="en-US" sz="1000" i="0" u="none" strike="noStrike" kern="1200" cap="none" spc="0" normalizeH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for Risk of Partial Decoupling</a:t>
            </a:r>
            <a:endParaRPr kumimoji="0" lang="en-US" sz="1000" i="0" u="none" strike="noStrike" kern="1200" cap="none" spc="0" normalizeH="0" baseline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12:27		14:27		End of Calculation</a:t>
            </a:r>
          </a:p>
          <a:p>
            <a:pPr lvl="0" algn="just">
              <a:defRPr/>
            </a:pPr>
            <a:r>
              <a:rPr kumimoji="0" lang="en-US" sz="10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12:29	14:29	R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eception of Results in NEMO Local systems + Start of 12 min Confirmation process</a:t>
            </a:r>
          </a:p>
          <a:p>
            <a:pPr lvl="0" algn="just">
              <a:defRPr/>
            </a:pPr>
            <a:r>
              <a:rPr lang="en-US" sz="1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:35	14:35	Second auction triggering</a:t>
            </a:r>
          </a:p>
          <a:p>
            <a:pPr lvl="0" algn="just">
              <a:defRPr/>
            </a:pPr>
            <a:r>
              <a:rPr kumimoji="0" lang="en-US" sz="10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12:41	14:41	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Deadline to send the Preliminary Confirmations 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rPr>
              <a:t> Generation of GPC</a:t>
            </a:r>
          </a:p>
          <a:p>
            <a:pPr lvl="0" algn="just">
              <a:tabLst>
                <a:tab pos="896938" algn="l"/>
              </a:tabLst>
              <a:defRPr/>
            </a:pPr>
            <a:r>
              <a:rPr lang="en-US" sz="1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:45		14:45	Publication of Preliminary Results and sending to the TSOs </a:t>
            </a: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rPr>
              <a:t> </a:t>
            </a:r>
          </a:p>
          <a:p>
            <a:pPr lvl="0" algn="just">
              <a:tabLst>
                <a:tab pos="896938" algn="l"/>
              </a:tabLst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rPr>
              <a:t>			</a:t>
            </a: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rt of 12 min Final Confirmation process</a:t>
            </a:r>
          </a:p>
          <a:p>
            <a:pPr lvl="0" algn="just"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</a:t>
            </a:r>
            <a:r>
              <a:rPr lang="en-GB" sz="1000" dirty="0">
                <a:highlight>
                  <a:srgbClr val="FFFF00"/>
                </a:highlight>
                <a:latin typeface="Calibri"/>
              </a:rPr>
              <a:t>Message ExC_02: Delay in Market Coupling Results publication</a:t>
            </a:r>
            <a:r>
              <a:rPr lang="en-GB" sz="1000" dirty="0">
                <a:highlight>
                  <a:srgbClr val="FFFF00"/>
                </a:highlight>
                <a:latin typeface="Calibri"/>
                <a:cs typeface="Arial" pitchFamily="34" charset="0"/>
              </a:rPr>
              <a:t>=&gt;MPs invited to update Shadow Auction bids*</a:t>
            </a:r>
            <a:endParaRPr lang="en-US" sz="1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algn="just"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:57	14:57	Deadline to send the Final Confirmations</a:t>
            </a:r>
          </a:p>
          <a:p>
            <a:pPr lvl="0" algn="just"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:57	14:57	Reception of all Final Confirmations in the PMB </a:t>
            </a: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rPr>
              <a:t></a:t>
            </a: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rPr>
              <a:t>Generation</a:t>
            </a: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GFC</a:t>
            </a:r>
          </a:p>
          <a:p>
            <a:pPr lvl="0" algn="just"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:57	14:57	Reception of Global Final Confirmation in local PMBs</a:t>
            </a:r>
          </a:p>
          <a:p>
            <a:pPr lvl="0" algn="just">
              <a:defRPr/>
            </a:pPr>
            <a:r>
              <a:rPr lang="en-US" sz="1000" b="1" dirty="0">
                <a:latin typeface="Calibri" panose="020F0502020204030204" pitchFamily="34" charset="0"/>
                <a:cs typeface="Calibri" panose="020F0502020204030204" pitchFamily="34" charset="0"/>
              </a:rPr>
              <a:t>12:58	14:58	Publication of Final Results 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  <a:sym typeface="Wingdings" pitchFamily="2" charset="2"/>
              </a:rPr>
              <a:t>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Start of Notification Process</a:t>
            </a:r>
          </a:p>
          <a:p>
            <a:pPr lvl="0" algn="just"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3:50	15:50	Deadline to send the message for </a:t>
            </a:r>
            <a:r>
              <a:rPr lang="en-GB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 of Full Decoupling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to the TSOs/market</a:t>
            </a:r>
            <a:endParaRPr lang="en-GB" sz="1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		</a:t>
            </a:r>
            <a:r>
              <a:rPr lang="en-GB" sz="1000" dirty="0">
                <a:highlight>
                  <a:srgbClr val="FFFF00"/>
                </a:highlight>
                <a:latin typeface="Calibri"/>
                <a:cs typeface="Arial" pitchFamily="34" charset="0"/>
              </a:rPr>
              <a:t>Message ExC_03b: Further delay Market Coupling session and risk of Full decoupling</a:t>
            </a:r>
          </a:p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latin typeface="Calibri"/>
                <a:cs typeface="Arial" pitchFamily="34" charset="0"/>
              </a:rPr>
              <a:t>				</a:t>
            </a:r>
            <a:r>
              <a:rPr lang="en-GB" sz="1000" dirty="0">
                <a:highlight>
                  <a:srgbClr val="FFFF00"/>
                </a:highlight>
                <a:latin typeface="Calibri"/>
                <a:cs typeface="Arial" pitchFamily="34" charset="0"/>
              </a:rPr>
              <a:t>=</a:t>
            </a:r>
            <a:r>
              <a:rPr lang="en-GB" sz="900" dirty="0">
                <a:highlight>
                  <a:srgbClr val="FFFF00"/>
                </a:highlight>
                <a:latin typeface="Calibri"/>
                <a:cs typeface="Arial" pitchFamily="34" charset="0"/>
              </a:rPr>
              <a:t>&gt;MPs invited to update Shadow Auction bids*</a:t>
            </a:r>
            <a:endParaRPr lang="en-US" sz="1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algn="just">
              <a:defRPr/>
            </a:pPr>
            <a:r>
              <a:rPr kumimoji="0" lang="en-GB" sz="10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14:10	16:10	</a:t>
            </a:r>
            <a:r>
              <a:rPr kumimoji="0" lang="en-GB" sz="1000" b="1" i="1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Arial" pitchFamily="34" charset="0"/>
              </a:rPr>
              <a:t>Closure of shadow auction bidding process by JAO</a:t>
            </a:r>
            <a:endParaRPr lang="en-US" sz="1000" b="1" i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algn="just">
              <a:defRPr/>
            </a:pPr>
            <a:r>
              <a:rPr lang="en-US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:20	16:20	Deadline to declare the SDAC Full Decoupling</a:t>
            </a:r>
            <a:endParaRPr lang="en-US" sz="900" b="1" dirty="0">
              <a:solidFill>
                <a:srgbClr val="00B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		</a:t>
            </a:r>
            <a:r>
              <a:rPr lang="en-GB" sz="900" dirty="0">
                <a:highlight>
                  <a:srgbClr val="FFFF00"/>
                </a:highlight>
                <a:latin typeface="Calibri"/>
                <a:cs typeface="Arial" pitchFamily="34" charset="0"/>
              </a:rPr>
              <a:t>Message ExC_04b: Declaration of Full decoupling</a:t>
            </a:r>
          </a:p>
          <a:p>
            <a:pPr algn="just">
              <a:defRPr/>
            </a:pPr>
            <a:r>
              <a:rPr lang="en-GB" sz="900" b="1" dirty="0">
                <a:latin typeface="Calibri"/>
                <a:cs typeface="Arial" pitchFamily="34" charset="0"/>
              </a:rPr>
              <a:t>14:25	16:25	</a:t>
            </a:r>
            <a:r>
              <a:rPr lang="en-GB" sz="900" b="1" dirty="0">
                <a:highlight>
                  <a:srgbClr val="FFFF00"/>
                </a:highlight>
                <a:latin typeface="Calibri"/>
                <a:cs typeface="Arial" pitchFamily="34" charset="0"/>
              </a:rPr>
              <a:t>Publication of shadow auction process results to relevant partie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		</a:t>
            </a:r>
          </a:p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dirty="0">
                <a:latin typeface="Calibri"/>
                <a:cs typeface="Arial" pitchFamily="34" charset="0"/>
              </a:rPr>
              <a:t>After 14:30	after 16:30 	</a:t>
            </a:r>
            <a:r>
              <a:rPr lang="en-GB" sz="900" b="1" dirty="0">
                <a:highlight>
                  <a:srgbClr val="FFFF00"/>
                </a:highlight>
                <a:latin typeface="Calibri"/>
                <a:cs typeface="Arial" pitchFamily="34" charset="0"/>
              </a:rPr>
              <a:t>Local NEMO process for running local auctions or regional coupled auctions, depending on</a:t>
            </a:r>
            <a:r>
              <a:rPr lang="en-GB" sz="900" b="1" dirty="0">
                <a:latin typeface="Calibri"/>
                <a:cs typeface="Arial" pitchFamily="34" charset="0"/>
              </a:rPr>
              <a:t> 												</a:t>
            </a:r>
            <a:r>
              <a:rPr lang="en-GB" sz="900" b="1" dirty="0">
                <a:highlight>
                  <a:srgbClr val="FFFF00"/>
                </a:highlight>
                <a:latin typeface="Calibri"/>
                <a:cs typeface="Arial" pitchFamily="34" charset="0"/>
              </a:rPr>
              <a:t>local/regional fallback rules. These auctions will be followed by nominations towards the TSOs.</a:t>
            </a:r>
          </a:p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16:00		after 17:30	</a:t>
            </a:r>
            <a:r>
              <a:rPr kumimoji="0" lang="en-GB" sz="900" b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Calibri"/>
                <a:ea typeface="+mn-ea"/>
                <a:cs typeface="+mn-cs"/>
              </a:rPr>
              <a:t>Nordic-Baltic regional coupling results publication</a:t>
            </a:r>
          </a:p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*for borders where Shadow Auctions apply</a:t>
            </a:r>
            <a:endParaRPr lang="en-US" sz="900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ZoneTexte 12">
            <a:extLst>
              <a:ext uri="{FF2B5EF4-FFF2-40B4-BE49-F238E27FC236}">
                <a16:creationId xmlns:a16="http://schemas.microsoft.com/office/drawing/2014/main" id="{50BBDDB3-FC2D-4282-94B7-B425E2683B28}"/>
              </a:ext>
            </a:extLst>
          </p:cNvPr>
          <p:cNvSpPr txBox="1"/>
          <p:nvPr/>
        </p:nvSpPr>
        <p:spPr>
          <a:xfrm>
            <a:off x="1854566" y="1048524"/>
            <a:ext cx="9593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ctr"/>
            <a:r>
              <a:rPr lang="en-US" sz="1050" b="1" dirty="0">
                <a:solidFill>
                  <a:srgbClr val="FF0000"/>
                </a:solidFill>
              </a:rPr>
              <a:t>Production</a:t>
            </a:r>
          </a:p>
        </p:txBody>
      </p:sp>
      <p:sp>
        <p:nvSpPr>
          <p:cNvPr id="16" name="ZoneTexte 13">
            <a:extLst>
              <a:ext uri="{FF2B5EF4-FFF2-40B4-BE49-F238E27FC236}">
                <a16:creationId xmlns:a16="http://schemas.microsoft.com/office/drawing/2014/main" id="{A36C1E11-2DFC-45BA-8E48-0CE845727D07}"/>
              </a:ext>
            </a:extLst>
          </p:cNvPr>
          <p:cNvSpPr txBox="1"/>
          <p:nvPr/>
        </p:nvSpPr>
        <p:spPr>
          <a:xfrm>
            <a:off x="2805536" y="1048524"/>
            <a:ext cx="73913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ctr"/>
            <a:r>
              <a:rPr lang="en-US" sz="1050" b="1" dirty="0">
                <a:solidFill>
                  <a:srgbClr val="00B050"/>
                </a:solidFill>
              </a:rPr>
              <a:t>Testing</a:t>
            </a:r>
          </a:p>
        </p:txBody>
      </p:sp>
      <p:sp>
        <p:nvSpPr>
          <p:cNvPr id="17" name="Rectangle à coins arrondis 9">
            <a:extLst>
              <a:ext uri="{FF2B5EF4-FFF2-40B4-BE49-F238E27FC236}">
                <a16:creationId xmlns:a16="http://schemas.microsoft.com/office/drawing/2014/main" id="{733DCC97-522B-4022-A393-48572D8D9694}"/>
              </a:ext>
            </a:extLst>
          </p:cNvPr>
          <p:cNvSpPr/>
          <p:nvPr/>
        </p:nvSpPr>
        <p:spPr>
          <a:xfrm>
            <a:off x="324415" y="2600326"/>
            <a:ext cx="1135063" cy="300037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rgbClr val="FFFFFF"/>
                </a:solidFill>
                <a:latin typeface="+mj-lt"/>
              </a:rPr>
              <a:t>Coupling</a:t>
            </a:r>
          </a:p>
        </p:txBody>
      </p:sp>
      <p:sp>
        <p:nvSpPr>
          <p:cNvPr id="18" name="Rectangle à coins arrondis 11">
            <a:extLst>
              <a:ext uri="{FF2B5EF4-FFF2-40B4-BE49-F238E27FC236}">
                <a16:creationId xmlns:a16="http://schemas.microsoft.com/office/drawing/2014/main" id="{259145D5-40F8-4A21-A10F-64D2B8242C54}"/>
              </a:ext>
            </a:extLst>
          </p:cNvPr>
          <p:cNvSpPr/>
          <p:nvPr/>
        </p:nvSpPr>
        <p:spPr>
          <a:xfrm>
            <a:off x="314891" y="1369115"/>
            <a:ext cx="1144587" cy="1051692"/>
          </a:xfrm>
          <a:prstGeom prst="roundRect">
            <a:avLst/>
          </a:prstGeom>
          <a:solidFill>
            <a:srgbClr val="7F7F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rgbClr val="FFFFFF"/>
                </a:solidFill>
              </a:rPr>
              <a:t>Pre-Coupling</a:t>
            </a:r>
          </a:p>
        </p:txBody>
      </p:sp>
    </p:spTree>
    <p:extLst>
      <p:ext uri="{BB962C8B-B14F-4D97-AF65-F5344CB8AC3E}">
        <p14:creationId xmlns:p14="http://schemas.microsoft.com/office/powerpoint/2010/main" val="151041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2A2537-BBCB-46BC-925D-7D7099CC3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5) </a:t>
            </a:r>
            <a:r>
              <a:rPr lang="de-DE" dirty="0" err="1"/>
              <a:t>Coordinatio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175B47-B04C-49DD-8234-DF8852777D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8</a:t>
            </a:fld>
            <a:endParaRPr lang="en-US" altLang="en-US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9C86966-1DB3-4E1F-B029-0D935254E9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1439999"/>
            <a:ext cx="10728000" cy="4896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b="1" dirty="0"/>
              <a:t>Registration process </a:t>
            </a:r>
          </a:p>
          <a:p>
            <a:r>
              <a:rPr lang="en-GB" sz="1600" dirty="0"/>
              <a:t>In case applicable, the respective NEMO(s) and/or JAO will contact the market participants regarding the process to follow.</a:t>
            </a:r>
          </a:p>
          <a:p>
            <a:r>
              <a:rPr lang="en-GB" sz="1600" dirty="0"/>
              <a:t>JAO: MPs should register for the test with JAO by sending the email to </a:t>
            </a:r>
            <a:r>
              <a:rPr lang="en-GB" sz="1600" u="sng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lpdesk@jao.eu</a:t>
            </a:r>
            <a:r>
              <a:rPr lang="en-GB" sz="1600" dirty="0"/>
              <a:t>. Deadline to register is 30/09.  </a:t>
            </a:r>
          </a:p>
          <a:p>
            <a:endParaRPr lang="en-GB" sz="1600" dirty="0"/>
          </a:p>
          <a:p>
            <a:pPr marL="0" indent="0">
              <a:buNone/>
            </a:pPr>
            <a:r>
              <a:rPr lang="en-GB" sz="1600" b="1" dirty="0"/>
              <a:t>Environments to connect to</a:t>
            </a:r>
          </a:p>
          <a:p>
            <a:r>
              <a:rPr lang="en-GB" sz="1600" dirty="0"/>
              <a:t>JAO: For MPs, the JAO </a:t>
            </a:r>
            <a:r>
              <a:rPr lang="en-GB" sz="1600" dirty="0" err="1"/>
              <a:t>eCAT</a:t>
            </a:r>
            <a:r>
              <a:rPr lang="en-GB" sz="1600" dirty="0"/>
              <a:t> test </a:t>
            </a:r>
            <a:r>
              <a:rPr lang="en-GB" sz="1600" dirty="0" err="1"/>
              <a:t>plaform</a:t>
            </a:r>
            <a:r>
              <a:rPr lang="en-GB" sz="1600" dirty="0"/>
              <a:t>.</a:t>
            </a:r>
          </a:p>
          <a:p>
            <a:endParaRPr lang="en-GB" sz="1600" dirty="0"/>
          </a:p>
          <a:p>
            <a:pPr marL="0" indent="0">
              <a:buNone/>
            </a:pPr>
            <a:r>
              <a:rPr lang="en-GB" sz="1600" b="1" dirty="0"/>
              <a:t>Connectivity establishment</a:t>
            </a:r>
          </a:p>
          <a:p>
            <a:r>
              <a:rPr lang="en-GB" sz="1600" dirty="0"/>
              <a:t>JAO: Connectivity will be made available </a:t>
            </a:r>
            <a:r>
              <a:rPr lang="en-GB" sz="1600"/>
              <a:t>for the JAO </a:t>
            </a:r>
            <a:r>
              <a:rPr lang="en-GB" sz="1600" dirty="0" err="1"/>
              <a:t>eCAT</a:t>
            </a:r>
            <a:r>
              <a:rPr lang="en-GB" sz="1600" dirty="0"/>
              <a:t> test </a:t>
            </a:r>
            <a:r>
              <a:rPr lang="en-GB" sz="1600" dirty="0" err="1"/>
              <a:t>plaform</a:t>
            </a:r>
            <a:r>
              <a:rPr lang="en-GB" sz="1600" dirty="0"/>
              <a:t> a few days before the training.</a:t>
            </a:r>
          </a:p>
        </p:txBody>
      </p:sp>
    </p:spTree>
    <p:extLst>
      <p:ext uri="{BB962C8B-B14F-4D97-AF65-F5344CB8AC3E}">
        <p14:creationId xmlns:p14="http://schemas.microsoft.com/office/powerpoint/2010/main" val="409648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2A2537-BBCB-46BC-925D-7D7099CC3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6) Evaluation and reporti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B175B47-B04C-49DD-8234-DF8852777D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9</a:t>
            </a:fld>
            <a:endParaRPr lang="en-US" altLang="en-US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9C86966-1DB3-4E1F-B029-0D935254E9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1439999"/>
            <a:ext cx="10728000" cy="4896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b="1" dirty="0"/>
              <a:t>Evaluation</a:t>
            </a:r>
          </a:p>
          <a:p>
            <a:pPr marL="0" indent="0">
              <a:buNone/>
            </a:pPr>
            <a:r>
              <a:rPr lang="en-GB" sz="1600" dirty="0"/>
              <a:t>In order to jointly learn and profit as much as possible from this joint training session, it is foreseen to evaluate the session and to address the following questions</a:t>
            </a:r>
          </a:p>
          <a:p>
            <a:r>
              <a:rPr lang="en-GB" sz="1600" dirty="0"/>
              <a:t>What went well?</a:t>
            </a:r>
          </a:p>
          <a:p>
            <a:r>
              <a:rPr lang="en-GB" sz="1600" dirty="0"/>
              <a:t>What needs more attention?</a:t>
            </a:r>
          </a:p>
          <a:p>
            <a:r>
              <a:rPr lang="en-GB" sz="1600" dirty="0"/>
              <a:t>Need for more training sessions?</a:t>
            </a:r>
          </a:p>
          <a:p>
            <a:r>
              <a:rPr lang="en-GB" sz="1600" dirty="0"/>
              <a:t>Ideas for the future? </a:t>
            </a:r>
          </a:p>
          <a:p>
            <a:pPr marL="0" indent="0">
              <a:buNone/>
            </a:pPr>
            <a:endParaRPr lang="en-GB" sz="1600" dirty="0"/>
          </a:p>
          <a:p>
            <a:pPr marL="0" indent="0">
              <a:buNone/>
            </a:pPr>
            <a:r>
              <a:rPr lang="en-GB" sz="1600" b="1" dirty="0"/>
              <a:t>Reporting</a:t>
            </a:r>
          </a:p>
          <a:p>
            <a:pPr marL="0" indent="0">
              <a:buNone/>
            </a:pPr>
            <a:r>
              <a:rPr lang="en-GB" sz="1600" dirty="0"/>
              <a:t>The findings will be captured in a report that will be shared in due time.</a:t>
            </a:r>
          </a:p>
          <a:p>
            <a:pPr marL="0" indent="0">
              <a:buNone/>
            </a:pPr>
            <a:endParaRPr lang="en-GB" sz="1600" dirty="0"/>
          </a:p>
          <a:p>
            <a:pPr marL="0" indent="0">
              <a:buNone/>
            </a:pPr>
            <a:endParaRPr lang="en-GB" sz="1600" b="1" dirty="0"/>
          </a:p>
        </p:txBody>
      </p:sp>
    </p:spTree>
    <p:extLst>
      <p:ext uri="{BB962C8B-B14F-4D97-AF65-F5344CB8AC3E}">
        <p14:creationId xmlns:p14="http://schemas.microsoft.com/office/powerpoint/2010/main" val="266535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mu0UhSFi8NOgSKYsf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gUoJPSRfCJKEF5SH8F9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8T51PQBWjULrkbV8N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f27AqQSWFiam.eNOJ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GrQ0MTQqKWNHBUOex2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YX4uIYS36bRSVab3Z6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ftbO1RHqExZCHMaq7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jB9SFSySA1oJxAV7V7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XBID Templates">
  <a:themeElements>
    <a:clrScheme name="Benutzerdefiniert 5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00B1AC"/>
      </a:accent1>
      <a:accent2>
        <a:srgbClr val="FED900"/>
      </a:accent2>
      <a:accent3>
        <a:srgbClr val="BDBDBD"/>
      </a:accent3>
      <a:accent4>
        <a:srgbClr val="9D9D9D"/>
      </a:accent4>
      <a:accent5>
        <a:srgbClr val="646464"/>
      </a:accent5>
      <a:accent6>
        <a:srgbClr val="3C3C3C"/>
      </a:accent6>
      <a:hlink>
        <a:srgbClr val="00B1AC"/>
      </a:hlink>
      <a:folHlink>
        <a:srgbClr val="00B1AC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</TotalTime>
  <Words>1877</Words>
  <Application>Microsoft Office PowerPoint</Application>
  <PresentationFormat>Širokoúhlá obrazovka</PresentationFormat>
  <Paragraphs>242</Paragraphs>
  <Slides>11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1</vt:i4>
      </vt:variant>
    </vt:vector>
  </HeadingPairs>
  <TitlesOfParts>
    <vt:vector size="16" baseType="lpstr">
      <vt:lpstr>Arial</vt:lpstr>
      <vt:lpstr>Calibri</vt:lpstr>
      <vt:lpstr>Symbol</vt:lpstr>
      <vt:lpstr>XBID Templates</vt:lpstr>
      <vt:lpstr>think-cell Slide</vt:lpstr>
      <vt:lpstr>Decoupling training session  with Market Participants</vt:lpstr>
      <vt:lpstr>Contents</vt:lpstr>
      <vt:lpstr>1) Background &amp; Goal</vt:lpstr>
      <vt:lpstr>2) Date and timeslot</vt:lpstr>
      <vt:lpstr>3) Scenario: Full decoupling of SDAC</vt:lpstr>
      <vt:lpstr>4) Operational process and timings 1/3 as described in the operational procedures</vt:lpstr>
      <vt:lpstr>4) Operational process and timings 2/3 </vt:lpstr>
      <vt:lpstr>5) Coordination</vt:lpstr>
      <vt:lpstr>6) Evaluation and reporting</vt:lpstr>
      <vt:lpstr>Backup slide 1: Fallback solution per Interconnector</vt:lpstr>
      <vt:lpstr>Backup slide 2: Fallback solution per Bidding Zone</vt:lpstr>
    </vt:vector>
  </TitlesOfParts>
  <Company>APX-ENDEX/Belp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DAC Decoupling training session with Market Participants October 13th 2022 - Information package</dc:title>
  <dc:creator>Tjacka Bus</dc:creator>
  <cp:lastModifiedBy>Kalaš Vladislav</cp:lastModifiedBy>
  <cp:revision>2575</cp:revision>
  <cp:lastPrinted>2012-11-12T07:39:19Z</cp:lastPrinted>
  <dcterms:created xsi:type="dcterms:W3CDTF">2012-03-01T10:29:33Z</dcterms:created>
  <dcterms:modified xsi:type="dcterms:W3CDTF">2022-09-22T13:09:46Z</dcterms:modified>
</cp:coreProperties>
</file>